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</p:sldMasterIdLst>
  <p:notesMasterIdLst>
    <p:notesMasterId r:id="rId9"/>
  </p:notesMasterIdLst>
  <p:sldIdLst>
    <p:sldId id="256" r:id="rId5"/>
    <p:sldId id="258" r:id="rId6"/>
    <p:sldId id="260" r:id="rId7"/>
    <p:sldId id="261" r:id="rId8"/>
  </p:sldIdLst>
  <p:sldSz cx="12192000" cy="6858000"/>
  <p:notesSz cx="6858000" cy="9144000"/>
  <p:custDataLst>
    <p:tags r:id="rId1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7DF15D7-3AD0-8093-F3E3-8EF4672EDD0E}" name="Sofia Munoz" initials="SM" userId="S::sofia.munoz@commitpartnership.org::72881856-62c2-431b-94b7-572b4e0a6ad1" providerId="AD"/>
  <p188:author id="{6B755DEE-EB61-5562-A4AD-9BB59AA4EA9A}" name="Gennie Balanon" initials="GB" userId="S::gennie.balanon@commitpartnership.org::b7977e86-5e78-4663-9a0b-d6135c3a9a0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FF1CB"/>
    <a:srgbClr val="C9E7A7"/>
    <a:srgbClr val="E7F4D8"/>
    <a:srgbClr val="92D050"/>
    <a:srgbClr val="F1F1F1"/>
    <a:srgbClr val="E6E6E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8942304-8C37-AE4E-B3FB-555A74CC556E}" v="59" dt="2024-08-28T14:48:49.45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viewProps" Target="viewProps.xml"/><Relationship Id="rId17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microsoft.com/office/2016/11/relationships/changesInfo" Target="changesInfos/changesInfo1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mily Thornton" userId="6087d0d5-dbe0-4518-b0d3-b78d9768f1fa" providerId="ADAL" clId="{68942304-8C37-AE4E-B3FB-555A74CC556E}"/>
    <pc:docChg chg="custSel delSld modSld">
      <pc:chgData name="Emily Thornton" userId="6087d0d5-dbe0-4518-b0d3-b78d9768f1fa" providerId="ADAL" clId="{68942304-8C37-AE4E-B3FB-555A74CC556E}" dt="2024-08-28T14:48:49.459" v="94" actId="404"/>
      <pc:docMkLst>
        <pc:docMk/>
      </pc:docMkLst>
      <pc:sldChg chg="modSp mod">
        <pc:chgData name="Emily Thornton" userId="6087d0d5-dbe0-4518-b0d3-b78d9768f1fa" providerId="ADAL" clId="{68942304-8C37-AE4E-B3FB-555A74CC556E}" dt="2024-08-27T22:08:23.976" v="3" actId="404"/>
        <pc:sldMkLst>
          <pc:docMk/>
          <pc:sldMk cId="365687773" sldId="258"/>
        </pc:sldMkLst>
        <pc:spChg chg="mod">
          <ac:chgData name="Emily Thornton" userId="6087d0d5-dbe0-4518-b0d3-b78d9768f1fa" providerId="ADAL" clId="{68942304-8C37-AE4E-B3FB-555A74CC556E}" dt="2024-08-27T22:08:09.321" v="0" actId="14100"/>
          <ac:spMkLst>
            <pc:docMk/>
            <pc:sldMk cId="365687773" sldId="258"/>
            <ac:spMk id="2" creationId="{A8D6E063-A499-D5A2-5441-7C953D283C4F}"/>
          </ac:spMkLst>
        </pc:spChg>
        <pc:spChg chg="mod">
          <ac:chgData name="Emily Thornton" userId="6087d0d5-dbe0-4518-b0d3-b78d9768f1fa" providerId="ADAL" clId="{68942304-8C37-AE4E-B3FB-555A74CC556E}" dt="2024-08-27T22:08:13.915" v="1" actId="122"/>
          <ac:spMkLst>
            <pc:docMk/>
            <pc:sldMk cId="365687773" sldId="258"/>
            <ac:spMk id="5" creationId="{F05445D3-D474-6BC3-1BEC-E3FD4CC06C16}"/>
          </ac:spMkLst>
        </pc:spChg>
        <pc:spChg chg="mod">
          <ac:chgData name="Emily Thornton" userId="6087d0d5-dbe0-4518-b0d3-b78d9768f1fa" providerId="ADAL" clId="{68942304-8C37-AE4E-B3FB-555A74CC556E}" dt="2024-08-27T22:08:23.976" v="3" actId="404"/>
          <ac:spMkLst>
            <pc:docMk/>
            <pc:sldMk cId="365687773" sldId="258"/>
            <ac:spMk id="13" creationId="{DD11F907-1C9F-A45E-9725-E646F52D1917}"/>
          </ac:spMkLst>
        </pc:spChg>
      </pc:sldChg>
      <pc:sldChg chg="modSp del mod">
        <pc:chgData name="Emily Thornton" userId="6087d0d5-dbe0-4518-b0d3-b78d9768f1fa" providerId="ADAL" clId="{68942304-8C37-AE4E-B3FB-555A74CC556E}" dt="2024-08-27T22:18:47.867" v="30" actId="2696"/>
        <pc:sldMkLst>
          <pc:docMk/>
          <pc:sldMk cId="3500441184" sldId="259"/>
        </pc:sldMkLst>
        <pc:spChg chg="mod">
          <ac:chgData name="Emily Thornton" userId="6087d0d5-dbe0-4518-b0d3-b78d9768f1fa" providerId="ADAL" clId="{68942304-8C37-AE4E-B3FB-555A74CC556E}" dt="2024-08-27T22:08:58.884" v="16" actId="27636"/>
          <ac:spMkLst>
            <pc:docMk/>
            <pc:sldMk cId="3500441184" sldId="259"/>
            <ac:spMk id="2" creationId="{A8D6E063-A499-D5A2-5441-7C953D283C4F}"/>
          </ac:spMkLst>
        </pc:spChg>
        <pc:spChg chg="mod">
          <ac:chgData name="Emily Thornton" userId="6087d0d5-dbe0-4518-b0d3-b78d9768f1fa" providerId="ADAL" clId="{68942304-8C37-AE4E-B3FB-555A74CC556E}" dt="2024-08-27T22:08:54.056" v="14" actId="1035"/>
          <ac:spMkLst>
            <pc:docMk/>
            <pc:sldMk cId="3500441184" sldId="259"/>
            <ac:spMk id="3" creationId="{ED9CF3B6-7828-6FE3-C680-349E5906E77B}"/>
          </ac:spMkLst>
        </pc:spChg>
        <pc:spChg chg="mod">
          <ac:chgData name="Emily Thornton" userId="6087d0d5-dbe0-4518-b0d3-b78d9768f1fa" providerId="ADAL" clId="{68942304-8C37-AE4E-B3FB-555A74CC556E}" dt="2024-08-27T22:08:38.946" v="5" actId="1076"/>
          <ac:spMkLst>
            <pc:docMk/>
            <pc:sldMk cId="3500441184" sldId="259"/>
            <ac:spMk id="13" creationId="{DD11F907-1C9F-A45E-9725-E646F52D1917}"/>
          </ac:spMkLst>
        </pc:spChg>
      </pc:sldChg>
      <pc:sldChg chg="modSp mod">
        <pc:chgData name="Emily Thornton" userId="6087d0d5-dbe0-4518-b0d3-b78d9768f1fa" providerId="ADAL" clId="{68942304-8C37-AE4E-B3FB-555A74CC556E}" dt="2024-08-28T14:48:18.145" v="63" actId="1076"/>
        <pc:sldMkLst>
          <pc:docMk/>
          <pc:sldMk cId="1689745382" sldId="260"/>
        </pc:sldMkLst>
        <pc:spChg chg="mod">
          <ac:chgData name="Emily Thornton" userId="6087d0d5-dbe0-4518-b0d3-b78d9768f1fa" providerId="ADAL" clId="{68942304-8C37-AE4E-B3FB-555A74CC556E}" dt="2024-08-28T14:48:09.980" v="61" actId="404"/>
          <ac:spMkLst>
            <pc:docMk/>
            <pc:sldMk cId="1689745382" sldId="260"/>
            <ac:spMk id="2" creationId="{A8D6E063-A499-D5A2-5441-7C953D283C4F}"/>
          </ac:spMkLst>
        </pc:spChg>
        <pc:spChg chg="mod">
          <ac:chgData name="Emily Thornton" userId="6087d0d5-dbe0-4518-b0d3-b78d9768f1fa" providerId="ADAL" clId="{68942304-8C37-AE4E-B3FB-555A74CC556E}" dt="2024-08-28T14:48:18.145" v="63" actId="1076"/>
          <ac:spMkLst>
            <pc:docMk/>
            <pc:sldMk cId="1689745382" sldId="260"/>
            <ac:spMk id="11" creationId="{E0E8ACD3-5C8A-6E00-075D-4142D7455D17}"/>
          </ac:spMkLst>
        </pc:spChg>
      </pc:sldChg>
      <pc:sldChg chg="modSp mod">
        <pc:chgData name="Emily Thornton" userId="6087d0d5-dbe0-4518-b0d3-b78d9768f1fa" providerId="ADAL" clId="{68942304-8C37-AE4E-B3FB-555A74CC556E}" dt="2024-08-28T14:48:49.459" v="94" actId="404"/>
        <pc:sldMkLst>
          <pc:docMk/>
          <pc:sldMk cId="195534471" sldId="261"/>
        </pc:sldMkLst>
        <pc:spChg chg="mod">
          <ac:chgData name="Emily Thornton" userId="6087d0d5-dbe0-4518-b0d3-b78d9768f1fa" providerId="ADAL" clId="{68942304-8C37-AE4E-B3FB-555A74CC556E}" dt="2024-08-28T14:48:49.459" v="94" actId="404"/>
          <ac:spMkLst>
            <pc:docMk/>
            <pc:sldMk cId="195534471" sldId="261"/>
            <ac:spMk id="2" creationId="{A8D6E063-A499-D5A2-5441-7C953D283C4F}"/>
          </ac:spMkLst>
        </pc:spChg>
        <pc:spChg chg="mod">
          <ac:chgData name="Emily Thornton" userId="6087d0d5-dbe0-4518-b0d3-b78d9768f1fa" providerId="ADAL" clId="{68942304-8C37-AE4E-B3FB-555A74CC556E}" dt="2024-08-27T22:15:09.867" v="27" actId="1076"/>
          <ac:spMkLst>
            <pc:docMk/>
            <pc:sldMk cId="195534471" sldId="261"/>
            <ac:spMk id="3" creationId="{BD25F519-FF54-6297-84E5-6061A56664F0}"/>
          </ac:spMkLst>
        </pc:spChg>
        <pc:spChg chg="mod">
          <ac:chgData name="Emily Thornton" userId="6087d0d5-dbe0-4518-b0d3-b78d9768f1fa" providerId="ADAL" clId="{68942304-8C37-AE4E-B3FB-555A74CC556E}" dt="2024-08-27T22:15:22.323" v="29" actId="1076"/>
          <ac:spMkLst>
            <pc:docMk/>
            <pc:sldMk cId="195534471" sldId="261"/>
            <ac:spMk id="13" creationId="{DD11F907-1C9F-A45E-9725-E646F52D1917}"/>
          </ac:spMkLst>
        </pc:spChg>
      </pc:sldChg>
      <pc:sldChg chg="del">
        <pc:chgData name="Emily Thornton" userId="6087d0d5-dbe0-4518-b0d3-b78d9768f1fa" providerId="ADAL" clId="{68942304-8C37-AE4E-B3FB-555A74CC556E}" dt="2024-08-27T22:18:49.497" v="31" actId="2696"/>
        <pc:sldMkLst>
          <pc:docMk/>
          <pc:sldMk cId="1973594869" sldId="262"/>
        </pc:sldMkLst>
      </pc:sldChg>
      <pc:sldChg chg="del">
        <pc:chgData name="Emily Thornton" userId="6087d0d5-dbe0-4518-b0d3-b78d9768f1fa" providerId="ADAL" clId="{68942304-8C37-AE4E-B3FB-555A74CC556E}" dt="2024-08-27T22:18:50.491" v="32" actId="2696"/>
        <pc:sldMkLst>
          <pc:docMk/>
          <pc:sldMk cId="3796648457" sldId="263"/>
        </pc:sldMkLst>
      </pc:sldChg>
      <pc:sldChg chg="del">
        <pc:chgData name="Emily Thornton" userId="6087d0d5-dbe0-4518-b0d3-b78d9768f1fa" providerId="ADAL" clId="{68942304-8C37-AE4E-B3FB-555A74CC556E}" dt="2024-08-27T22:18:51.182" v="33" actId="2696"/>
        <pc:sldMkLst>
          <pc:docMk/>
          <pc:sldMk cId="962071960" sldId="264"/>
        </pc:sldMkLst>
      </pc:sldChg>
      <pc:sldChg chg="del">
        <pc:chgData name="Emily Thornton" userId="6087d0d5-dbe0-4518-b0d3-b78d9768f1fa" providerId="ADAL" clId="{68942304-8C37-AE4E-B3FB-555A74CC556E}" dt="2024-08-27T22:18:53.787" v="34" actId="2696"/>
        <pc:sldMkLst>
          <pc:docMk/>
          <pc:sldMk cId="682374483" sldId="265"/>
        </pc:sldMkLst>
      </pc:sldChg>
      <pc:sldChg chg="modSp del mod">
        <pc:chgData name="Emily Thornton" userId="6087d0d5-dbe0-4518-b0d3-b78d9768f1fa" providerId="ADAL" clId="{68942304-8C37-AE4E-B3FB-555A74CC556E}" dt="2024-08-27T22:18:56.492" v="35" actId="2696"/>
        <pc:sldMkLst>
          <pc:docMk/>
          <pc:sldMk cId="822131535" sldId="266"/>
        </pc:sldMkLst>
        <pc:spChg chg="mod">
          <ac:chgData name="Emily Thornton" userId="6087d0d5-dbe0-4518-b0d3-b78d9768f1fa" providerId="ADAL" clId="{68942304-8C37-AE4E-B3FB-555A74CC556E}" dt="2024-08-27T22:14:38.558" v="22" actId="1076"/>
          <ac:spMkLst>
            <pc:docMk/>
            <pc:sldMk cId="822131535" sldId="266"/>
            <ac:spMk id="2" creationId="{A8D6E063-A499-D5A2-5441-7C953D283C4F}"/>
          </ac:spMkLst>
        </pc:spChg>
        <pc:spChg chg="mod">
          <ac:chgData name="Emily Thornton" userId="6087d0d5-dbe0-4518-b0d3-b78d9768f1fa" providerId="ADAL" clId="{68942304-8C37-AE4E-B3FB-555A74CC556E}" dt="2024-08-27T22:14:20.003" v="20" actId="1076"/>
          <ac:spMkLst>
            <pc:docMk/>
            <pc:sldMk cId="822131535" sldId="266"/>
            <ac:spMk id="3" creationId="{82FA5E0F-DB26-4708-DDF7-6A2D669F9831}"/>
          </ac:spMkLst>
        </pc:spChg>
        <pc:spChg chg="mod">
          <ac:chgData name="Emily Thornton" userId="6087d0d5-dbe0-4518-b0d3-b78d9768f1fa" providerId="ADAL" clId="{68942304-8C37-AE4E-B3FB-555A74CC556E}" dt="2024-08-27T22:14:52.215" v="24" actId="1076"/>
          <ac:spMkLst>
            <pc:docMk/>
            <pc:sldMk cId="822131535" sldId="266"/>
            <ac:spMk id="13" creationId="{DD11F907-1C9F-A45E-9725-E646F52D1917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102_15CBF3DD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104_64B777E6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_105_BA79E87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arrant County Enrollment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2334723049434187E-2"/>
                  <c:y val="-5.40024093382628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2E5-476C-837D-5908A886F908}"/>
                </c:ext>
              </c:extLst>
            </c:dLbl>
            <c:dLbl>
              <c:idx val="1"/>
              <c:layout>
                <c:manualLayout>
                  <c:x val="-3.3502084574151283E-2"/>
                  <c:y val="-4.98483778507041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2E5-476C-837D-5908A886F908}"/>
                </c:ext>
              </c:extLst>
            </c:dLbl>
            <c:dLbl>
              <c:idx val="2"/>
              <c:layout>
                <c:manualLayout>
                  <c:x val="-2.4816358943815762E-2"/>
                  <c:y val="-4.984837785070411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2E5-476C-837D-5908A886F908}"/>
                </c:ext>
              </c:extLst>
            </c:dLbl>
            <c:dLbl>
              <c:idx val="3"/>
              <c:layout>
                <c:manualLayout>
                  <c:x val="-2.3575540996624976E-2"/>
                  <c:y val="-4.154031487558675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2E5-476C-837D-5908A886F908}"/>
                </c:ext>
              </c:extLst>
            </c:dLbl>
            <c:dLbl>
              <c:idx val="4"/>
              <c:layout>
                <c:manualLayout>
                  <c:x val="-2.4816358943815855E-2"/>
                  <c:y val="-5.400240933826286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2E5-476C-837D-5908A886F908}"/>
                </c:ext>
              </c:extLst>
            </c:dLbl>
            <c:dLbl>
              <c:idx val="5"/>
              <c:layout>
                <c:manualLayout>
                  <c:x val="-2.853881278538822E-2"/>
                  <c:y val="-4.98483778507041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2E5-476C-837D-5908A886F908}"/>
                </c:ext>
              </c:extLst>
            </c:dLbl>
            <c:dLbl>
              <c:idx val="6"/>
              <c:layout>
                <c:manualLayout>
                  <c:x val="-2.9779630732578916E-2"/>
                  <c:y val="-4.56943463631455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2E5-476C-837D-5908A886F908}"/>
                </c:ext>
              </c:extLst>
            </c:dLbl>
            <c:numFmt formatCode="#,##0,\K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2016- 2017</c:v>
                </c:pt>
                <c:pt idx="1">
                  <c:v>2017-2018</c:v>
                </c:pt>
                <c:pt idx="2">
                  <c:v>2018-2019</c:v>
                </c:pt>
                <c:pt idx="3">
                  <c:v>2019-2020</c:v>
                </c:pt>
                <c:pt idx="4">
                  <c:v>2020-2021</c:v>
                </c:pt>
                <c:pt idx="5">
                  <c:v>2021-2022</c:v>
                </c:pt>
                <c:pt idx="6">
                  <c:v>2022-2023</c:v>
                </c:pt>
              </c:strCache>
            </c:strRef>
          </c:cat>
          <c:val>
            <c:numRef>
              <c:f>Sheet1!$B$2:$B$8</c:f>
              <c:numCache>
                <c:formatCode>#,##0</c:formatCode>
                <c:ptCount val="7"/>
                <c:pt idx="0">
                  <c:v>373345</c:v>
                </c:pt>
                <c:pt idx="1">
                  <c:v>373163</c:v>
                </c:pt>
                <c:pt idx="2">
                  <c:v>373199</c:v>
                </c:pt>
                <c:pt idx="3">
                  <c:v>374706</c:v>
                </c:pt>
                <c:pt idx="4">
                  <c:v>361585</c:v>
                </c:pt>
                <c:pt idx="5">
                  <c:v>362562</c:v>
                </c:pt>
                <c:pt idx="6">
                  <c:v>36438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349-4232-9D33-0792C9A600E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arrant County School Aged Population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numFmt formatCode="#,\K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2016- 2017</c:v>
                </c:pt>
                <c:pt idx="1">
                  <c:v>2017-2018</c:v>
                </c:pt>
                <c:pt idx="2">
                  <c:v>2018-2019</c:v>
                </c:pt>
                <c:pt idx="3">
                  <c:v>2019-2020</c:v>
                </c:pt>
                <c:pt idx="4">
                  <c:v>2020-2021</c:v>
                </c:pt>
                <c:pt idx="5">
                  <c:v>2021-2022</c:v>
                </c:pt>
                <c:pt idx="6">
                  <c:v>2022-2023</c:v>
                </c:pt>
              </c:strCache>
            </c:strRef>
          </c:cat>
          <c:val>
            <c:numRef>
              <c:f>Sheet1!$C$2:$C$8</c:f>
              <c:numCache>
                <c:formatCode>#,##0</c:formatCode>
                <c:ptCount val="7"/>
                <c:pt idx="0">
                  <c:v>390314</c:v>
                </c:pt>
                <c:pt idx="1">
                  <c:v>395289</c:v>
                </c:pt>
                <c:pt idx="2">
                  <c:v>398538</c:v>
                </c:pt>
                <c:pt idx="3">
                  <c:v>401473</c:v>
                </c:pt>
                <c:pt idx="4">
                  <c:v>408426</c:v>
                </c:pt>
                <c:pt idx="5">
                  <c:v>40580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D95-416E-8552-08A53B966A1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737543647"/>
        <c:axId val="1737545087"/>
      </c:lineChart>
      <c:catAx>
        <c:axId val="173754364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37545087"/>
        <c:crosses val="autoZero"/>
        <c:auto val="1"/>
        <c:lblAlgn val="ctr"/>
        <c:lblOffset val="100"/>
        <c:noMultiLvlLbl val="0"/>
      </c:catAx>
      <c:valAx>
        <c:axId val="173754508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37543647"/>
        <c:crosses val="autoZero"/>
        <c:crossBetween val="between"/>
        <c:majorUnit val="20000"/>
      </c:valAx>
      <c:spPr>
        <a:noFill/>
        <a:ln>
          <a:noFill/>
        </a:ln>
        <a:effectLst/>
      </c:spPr>
    </c:plotArea>
    <c:legend>
      <c:legendPos val="t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arrant County EcoDis Population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Pt>
            <c:idx val="1"/>
            <c:marker>
              <c:symbol val="circle"/>
              <c:size val="5"/>
              <c:spPr>
                <a:solidFill>
                  <a:schemeClr val="accent2"/>
                </a:solidFill>
                <a:ln w="9525">
                  <a:solidFill>
                    <a:schemeClr val="accent3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1-42DC-4F33-BF16-C72E78FEEDC0}"/>
              </c:ext>
            </c:extLst>
          </c:dPt>
          <c:dPt>
            <c:idx val="6"/>
            <c:marker>
              <c:symbol val="circle"/>
              <c:size val="5"/>
              <c:spPr>
                <a:solidFill>
                  <a:schemeClr val="accent2"/>
                </a:solidFill>
                <a:ln w="9525">
                  <a:solidFill>
                    <a:schemeClr val="accent3"/>
                  </a:solidFill>
                </a:ln>
                <a:effectLst/>
              </c:spPr>
            </c:marker>
            <c:bubble3D val="0"/>
            <c:spPr>
              <a:ln w="28575" cap="rnd">
                <a:solidFill>
                  <a:schemeClr val="accent2"/>
                </a:solidFill>
                <a:round/>
              </a:ln>
              <a:effectLst/>
            </c:spPr>
            <c:extLst>
              <c:ext xmlns:c16="http://schemas.microsoft.com/office/drawing/2014/chart" uri="{C3380CC4-5D6E-409C-BE32-E72D297353CC}">
                <c16:uniqueId val="{00000006-42DC-4F33-BF16-C72E78FEEDC0}"/>
              </c:ext>
            </c:extLst>
          </c:dPt>
          <c:dLbls>
            <c:dLbl>
              <c:idx val="0"/>
              <c:layout>
                <c:manualLayout>
                  <c:x val="-2.2946859903381644E-2"/>
                  <c:y val="4.453280875788517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2DC-4F33-BF16-C72E78FEEDC0}"/>
                </c:ext>
              </c:extLst>
            </c:dLbl>
            <c:dLbl>
              <c:idx val="1"/>
              <c:layout>
                <c:manualLayout>
                  <c:x val="-1.8115942028985508E-2"/>
                  <c:y val="4.453280875788517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2DC-4F33-BF16-C72E78FEEDC0}"/>
                </c:ext>
              </c:extLst>
            </c:dLbl>
            <c:dLbl>
              <c:idx val="2"/>
              <c:layout>
                <c:manualLayout>
                  <c:x val="-1.6908212560386472E-2"/>
                  <c:y val="5.40755534917178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2DC-4F33-BF16-C72E78FEEDC0}"/>
                </c:ext>
              </c:extLst>
            </c:dLbl>
            <c:dLbl>
              <c:idx val="3"/>
              <c:layout>
                <c:manualLayout>
                  <c:x val="-2.4154589371980676E-2"/>
                  <c:y val="3.49900640240527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2DC-4F33-BF16-C72E78FEEDC0}"/>
                </c:ext>
              </c:extLst>
            </c:dLbl>
            <c:dLbl>
              <c:idx val="4"/>
              <c:layout>
                <c:manualLayout>
                  <c:x val="-2.0531400966183576E-2"/>
                  <c:y val="3.49900640240527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2DC-4F33-BF16-C72E78FEEDC0}"/>
                </c:ext>
              </c:extLst>
            </c:dLbl>
            <c:dLbl>
              <c:idx val="5"/>
              <c:layout>
                <c:manualLayout>
                  <c:x val="-2.1739130434782608E-2"/>
                  <c:y val="3.499006402405272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2DC-4F33-BF16-C72E78FEEDC0}"/>
                </c:ext>
              </c:extLst>
            </c:dLbl>
            <c:dLbl>
              <c:idx val="6"/>
              <c:layout>
                <c:manualLayout>
                  <c:x val="-1.8115942028985508E-2"/>
                  <c:y val="6.0437383314272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2DC-4F33-BF16-C72E78FEEDC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General</c:formatCode>
                <c:ptCount val="7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</c:numCache>
            </c:numRef>
          </c:cat>
          <c:val>
            <c:numRef>
              <c:f>Sheet1!$B$2:$B$8</c:f>
              <c:numCache>
                <c:formatCode>0%</c:formatCode>
                <c:ptCount val="7"/>
                <c:pt idx="0">
                  <c:v>0.54</c:v>
                </c:pt>
                <c:pt idx="1">
                  <c:v>0.54</c:v>
                </c:pt>
                <c:pt idx="2">
                  <c:v>0.57999999999999996</c:v>
                </c:pt>
                <c:pt idx="3">
                  <c:v>0.56999999999999995</c:v>
                </c:pt>
                <c:pt idx="4">
                  <c:v>0.56999999999999995</c:v>
                </c:pt>
                <c:pt idx="5">
                  <c:v>0.56999999999999995</c:v>
                </c:pt>
                <c:pt idx="6">
                  <c:v>0.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140-44F0-A2BB-6154F8D5CC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52693967"/>
        <c:axId val="1152694447"/>
      </c:lineChart>
      <c:catAx>
        <c:axId val="115269396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2694447"/>
        <c:crosses val="autoZero"/>
        <c:auto val="1"/>
        <c:lblAlgn val="ctr"/>
        <c:lblOffset val="100"/>
        <c:noMultiLvlLbl val="0"/>
      </c:catAx>
      <c:valAx>
        <c:axId val="115269444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52693967"/>
        <c:crosses val="autoZero"/>
        <c:crossBetween val="between"/>
        <c:majorUnit val="2.0000000000000004E-2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3336462293811518E-2"/>
          <c:y val="0.1696054817531106"/>
          <c:w val="0.93428766627917881"/>
          <c:h val="0.79968553129260234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arrant County ELL Population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2.0251425971470491E-2"/>
                  <c:y val="3.729635066792445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B73-41BB-8BC7-A30C5B4EDDEF}"/>
                </c:ext>
              </c:extLst>
            </c:dLbl>
            <c:dLbl>
              <c:idx val="1"/>
              <c:layout>
                <c:manualLayout>
                  <c:x val="-4.5003168825489938E-3"/>
                  <c:y val="3.729635066792445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B73-41BB-8BC7-A30C5B4EDDEF}"/>
                </c:ext>
              </c:extLst>
            </c:dLbl>
            <c:dLbl>
              <c:idx val="2"/>
              <c:layout>
                <c:manualLayout>
                  <c:x val="-2.1376505192107802E-2"/>
                  <c:y val="3.729635066792445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B73-41BB-8BC7-A30C5B4EDDEF}"/>
                </c:ext>
              </c:extLst>
            </c:dLbl>
            <c:dLbl>
              <c:idx val="3"/>
              <c:layout>
                <c:manualLayout>
                  <c:x val="-2.1376505192107802E-2"/>
                  <c:y val="4.55844285941298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B73-41BB-8BC7-A30C5B4EDDEF}"/>
                </c:ext>
              </c:extLst>
            </c:dLbl>
            <c:dLbl>
              <c:idx val="4"/>
              <c:layout>
                <c:manualLayout>
                  <c:x val="-2.2501584412745051E-2"/>
                  <c:y val="3.729635066792445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EB73-41BB-8BC7-A30C5B4EDDEF}"/>
                </c:ext>
              </c:extLst>
            </c:dLbl>
            <c:dLbl>
              <c:idx val="5"/>
              <c:layout>
                <c:manualLayout>
                  <c:x val="-2.1376505192107719E-2"/>
                  <c:y val="4.558442859412988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EB73-41BB-8BC7-A30C5B4EDDEF}"/>
                </c:ext>
              </c:extLst>
            </c:dLbl>
            <c:dLbl>
              <c:idx val="6"/>
              <c:layout>
                <c:manualLayout>
                  <c:x val="-2.3626663633382217E-2"/>
                  <c:y val="4.97284675572326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EB73-41BB-8BC7-A30C5B4EDDE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1197" b="0" i="0" u="none" strike="noStrike" kern="1200" baseline="0">
                    <a:solidFill>
                      <a:schemeClr val="accent6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Sheet1!$A$2:$A$8</c:f>
              <c:numCache>
                <c:formatCode>General</c:formatCode>
                <c:ptCount val="7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  <c:pt idx="6">
                  <c:v>2023</c:v>
                </c:pt>
              </c:numCache>
            </c:numRef>
          </c:cat>
          <c:val>
            <c:numRef>
              <c:f>Sheet1!$B$2:$B$8</c:f>
              <c:numCache>
                <c:formatCode>0%</c:formatCode>
                <c:ptCount val="7"/>
                <c:pt idx="0">
                  <c:v>0.19</c:v>
                </c:pt>
                <c:pt idx="1">
                  <c:v>0.19</c:v>
                </c:pt>
                <c:pt idx="2">
                  <c:v>0.19</c:v>
                </c:pt>
                <c:pt idx="3">
                  <c:v>0.2</c:v>
                </c:pt>
                <c:pt idx="4">
                  <c:v>0.21</c:v>
                </c:pt>
                <c:pt idx="5">
                  <c:v>0.21</c:v>
                </c:pt>
                <c:pt idx="6">
                  <c:v>0.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47B-436B-BB48-A913E8B2A93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337110256"/>
        <c:axId val="1337109776"/>
      </c:lineChart>
      <c:catAx>
        <c:axId val="13371102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37109776"/>
        <c:crosses val="autoZero"/>
        <c:auto val="1"/>
        <c:lblAlgn val="ctr"/>
        <c:lblOffset val="100"/>
        <c:noMultiLvlLbl val="0"/>
      </c:catAx>
      <c:valAx>
        <c:axId val="1337109776"/>
        <c:scaling>
          <c:orientation val="minMax"/>
          <c:max val="0.4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337110256"/>
        <c:crosses val="autoZero"/>
        <c:crossBetween val="between"/>
        <c:majorUnit val="0.1"/>
      </c:valAx>
      <c:spPr>
        <a:noFill/>
        <a:ln>
          <a:noFill/>
        </a:ln>
        <a:effectLst/>
      </c:spPr>
    </c:plotArea>
    <c:legend>
      <c:legendPos val="t"/>
      <c:legendEntry>
        <c:idx val="0"/>
        <c:delete val="1"/>
      </c:legendEntry>
      <c:layout>
        <c:manualLayout>
          <c:xMode val="edge"/>
          <c:yMode val="edge"/>
          <c:x val="0.37287437542600194"/>
          <c:y val="6.5597965542316186E-2"/>
          <c:w val="0"/>
          <c:h val="2.153316106804479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60E0ED5-64DC-4F9E-AF86-01B45B4478B3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FE3B908-F4FE-48D4-A8C5-549C93CFCEA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956142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E3B908-F4FE-48D4-A8C5-549C93CFCEA8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703079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92CABB-9D47-E434-34A2-2F49772BAD3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 b="1" i="0">
                <a:latin typeface="Futura" panose="020B0602020204020303" pitchFamily="34" charset="-79"/>
                <a:cs typeface="Futura" panose="020B0602020204020303" pitchFamily="34" charset="-79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EF20C0B-455C-B1A3-086B-81929E37BC6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 b="0" i="0"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432A58F-46DE-98EA-77AD-97AFE4E5127E}"/>
              </a:ext>
            </a:extLst>
          </p:cNvPr>
          <p:cNvSpPr/>
          <p:nvPr/>
        </p:nvSpPr>
        <p:spPr>
          <a:xfrm>
            <a:off x="0" y="6657975"/>
            <a:ext cx="12192000" cy="200025"/>
          </a:xfrm>
          <a:prstGeom prst="rect">
            <a:avLst/>
          </a:prstGeom>
          <a:gradFill flip="none" rotWithShape="1">
            <a:gsLst>
              <a:gs pos="0">
                <a:srgbClr val="DF4132"/>
              </a:gs>
              <a:gs pos="100000">
                <a:srgbClr val="FBB040"/>
              </a:gs>
            </a:gsLst>
            <a:lin ang="2154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155AC669-09DF-1045-5E16-0F4FF2CF122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B0E6C69-F3CB-4902-96B8-1BB1F9EEA246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F6AD2BD8-B85F-621E-E48C-0B58C14C72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FBFC74C8-8FAA-BFB5-6759-45439AD0E2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4B3915E-556B-4CDB-B2CB-F6FD2D4BAD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8913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CA86EF5-175D-5D9D-80CF-22ADBE4133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0E6C69-F3CB-4902-96B8-1BB1F9EEA246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3D88899-7F7F-DCD1-A3B4-D0ADD53681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14D401C-C0E3-FA6D-53C6-1DAC837C3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B3915E-556B-4CDB-B2CB-F6FD2D4BAD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044334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E6127C-47B2-F0D3-0F96-14EEF90894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688BE87-3284-C979-169D-0C667FB63E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60D5CE6-4F5B-33DF-5341-7B610C5DCD6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3142699-DBC1-9E5E-00FE-40CF1DF3828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0E6C69-F3CB-4902-96B8-1BB1F9EEA246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D2BAB2E-419A-9947-AE39-0C1306DBFFA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7F52CD6-AB24-D0F3-8B36-8083024451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B3915E-556B-4CDB-B2CB-F6FD2D4BAD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84968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A5A6B9-32DC-5CCF-7E95-5D7B9B2FAD8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427E9F0-972D-3831-A652-1F5E817C2BEB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348CB53-3CE5-AD7C-F420-34C327D0EE7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DC8E6DDA-9980-DF82-521D-7456A3B449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0E6C69-F3CB-4902-96B8-1BB1F9EEA246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2C405BE-3A70-FB69-6F1A-8CF311738B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21A5CCF-AEC8-5076-8BF1-F26E70155B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B3915E-556B-4CDB-B2CB-F6FD2D4BAD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01897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68D5E5-99EA-8B56-B6D9-F620E62550A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0786DD9-814B-ECCE-8AA5-91658EFBEA7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29D9EF4-A611-F902-88CF-530BAF7E80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0E6C69-F3CB-4902-96B8-1BB1F9EEA246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6457B2-9EF2-823D-BBCF-7E187B78E6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88FCD4F-139C-E4FD-26F3-D81C33B90D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B3915E-556B-4CDB-B2CB-F6FD2D4BAD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4343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F9F5124B-35F4-1226-EB60-A66AAF91E25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E6AFE998-61D1-237E-15CA-5AB40E578F0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6C7C85-5FC5-C77E-988E-238AC96AA0F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0E6C69-F3CB-4902-96B8-1BB1F9EEA246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89E99B-8C37-7EDE-6FA3-DDECF1EA202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19E8DF-45D3-D39A-7C51-24E7DD92A6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B3915E-556B-4CDB-B2CB-F6FD2D4BAD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71206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C87AA2-027A-6872-E331-FFC981425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2690" y="365125"/>
            <a:ext cx="8621109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B1CAAB-E95C-D6EE-5C4F-26E72324F3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564FB8-6BC7-A296-A0CB-672E1B6E59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0E6C69-F3CB-4902-96B8-1BB1F9EEA246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1376D0-CE1E-2E01-D2A1-3868A33715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335C20-3088-B0C9-9F71-6316292A9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B3915E-556B-4CDB-B2CB-F6FD2D4BADC8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 descr="A close up of a logo&#10;&#10;Description automatically generated">
            <a:extLst>
              <a:ext uri="{FF2B5EF4-FFF2-40B4-BE49-F238E27FC236}">
                <a16:creationId xmlns:a16="http://schemas.microsoft.com/office/drawing/2014/main" id="{3335035A-C61F-FDEA-681A-A7845B43E86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598363"/>
            <a:ext cx="1592834" cy="831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67685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C87AA2-027A-6872-E331-FFC9814256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12884" y="365125"/>
            <a:ext cx="9440916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B1CAAB-E95C-D6EE-5C4F-26E72324F39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1564FB8-6BC7-A296-A0CB-672E1B6E59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0E6C69-F3CB-4902-96B8-1BB1F9EEA246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B1376D0-CE1E-2E01-D2A1-3868A33715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335C20-3088-B0C9-9F71-6316292A90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B3915E-556B-4CDB-B2CB-F6FD2D4BADC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white and black triangle on a red and orange background&#10;&#10;Description automatically generated">
            <a:extLst>
              <a:ext uri="{FF2B5EF4-FFF2-40B4-BE49-F238E27FC236}">
                <a16:creationId xmlns:a16="http://schemas.microsoft.com/office/drawing/2014/main" id="{33E6875A-3F7F-1462-5495-BABAEE8913C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572020"/>
            <a:ext cx="911772" cy="911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02455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B917BB-B2E2-2178-D489-E8A607FBAC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4921FB4-F372-8237-9F0C-0E4733B0ADE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9FD32C-88AA-D6C9-8B55-2D4BFEA48C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0E6C69-F3CB-4902-96B8-1BB1F9EEA246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DAE6F21-5438-53CD-5903-CED4177506B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C5981B9-4BDD-26BC-E719-C27BB25339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B3915E-556B-4CDB-B2CB-F6FD2D4BAD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9062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4F525E-24A3-F887-50A6-0085453C59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02372" y="365125"/>
            <a:ext cx="9451428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7846FE-F338-33FC-03CA-EEB48150B9E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EA967E-2C6D-9219-E8FF-5FB3A2415BD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E2E5A4-1D1F-4960-A84B-25C8A43A18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0E6C69-F3CB-4902-96B8-1BB1F9EEA246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9608D5-A16A-E568-DCFB-E06CE0CB56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0A265C-91CD-5C5F-2F4D-C80A49DF75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B3915E-556B-4CDB-B2CB-F6FD2D4BADC8}" type="slidenum">
              <a:rPr lang="en-US" smtClean="0"/>
              <a:t>‹#›</a:t>
            </a:fld>
            <a:endParaRPr lang="en-US"/>
          </a:p>
        </p:txBody>
      </p:sp>
      <p:pic>
        <p:nvPicPr>
          <p:cNvPr id="9" name="Picture 8" descr="A white and black triangle on a red and orange background&#10;&#10;Description automatically generated">
            <a:extLst>
              <a:ext uri="{FF2B5EF4-FFF2-40B4-BE49-F238E27FC236}">
                <a16:creationId xmlns:a16="http://schemas.microsoft.com/office/drawing/2014/main" id="{970B2D23-1730-2B6E-4A5E-7D71D7454B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572020"/>
            <a:ext cx="911772" cy="9117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50147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4F525E-24A3-F887-50A6-0085453C59F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48606" y="365125"/>
            <a:ext cx="8705193" cy="1325563"/>
          </a:xfrm>
        </p:spPr>
        <p:txBody>
          <a:bodyPr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7846FE-F338-33FC-03CA-EEB48150B9E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EA967E-2C6D-9219-E8FF-5FB3A2415BD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E2E5A4-1D1F-4960-A84B-25C8A43A18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0E6C69-F3CB-4902-96B8-1BB1F9EEA246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49608D5-A16A-E568-DCFB-E06CE0CB563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E0A265C-91CD-5C5F-2F4D-C80A49DF75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B3915E-556B-4CDB-B2CB-F6FD2D4BADC8}" type="slidenum">
              <a:rPr lang="en-US" smtClean="0"/>
              <a:t>‹#›</a:t>
            </a:fld>
            <a:endParaRPr lang="en-US"/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22595680-C599-FE8F-3EF5-9946D831EA7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681037"/>
            <a:ext cx="1592834" cy="8310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2916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D8005B-040E-7B99-C8D7-07FD2B5EE1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EFD95DB-3C49-257D-48CD-3829831DD8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2E3EF3B-9F2D-7D05-10C8-DC337C2A181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0C12039-D5A5-B4F0-2007-AB0BC799F80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EFA895D-62D6-06B4-8358-EB2BFB47084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8FB1819-F962-CB5F-D0C1-ABF3932C170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0E6C69-F3CB-4902-96B8-1BB1F9EEA246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5BCC903-97DA-AE74-D61F-450A53A09C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A98031F-1243-351F-8657-3F1413AAA8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B3915E-556B-4CDB-B2CB-F6FD2D4BADC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83167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648EE5-D6C9-17D5-40FD-8BA59BC12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96094" y="365125"/>
            <a:ext cx="8057706" cy="1325563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C2379B-4910-9456-C76F-79ADB681D1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0E6C69-F3CB-4902-96B8-1BB1F9EEA246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E9AF68-CCEC-EF47-FA6A-3DA923B9C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51073B-959F-4615-FB1F-6D14A2EE66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B3915E-556B-4CDB-B2CB-F6FD2D4BADC8}" type="slidenum">
              <a:rPr lang="en-US" smtClean="0"/>
              <a:t>‹#›</a:t>
            </a:fld>
            <a:endParaRPr lang="en-US"/>
          </a:p>
        </p:txBody>
      </p:sp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AF5B5F63-360F-5C9E-D1B8-2FC22AF20BA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535301"/>
            <a:ext cx="1888319" cy="9852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617036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648EE5-D6C9-17D5-40FD-8BA59BC12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86152" y="365125"/>
            <a:ext cx="9167648" cy="1325563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1C2379B-4910-9456-C76F-79ADB681D1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0E6C69-F3CB-4902-96B8-1BB1F9EEA246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DE9AF68-CCEC-EF47-FA6A-3DA923B9C5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51073B-959F-4615-FB1F-6D14A2EE66E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B3915E-556B-4CDB-B2CB-F6FD2D4BADC8}" type="slidenum">
              <a:rPr lang="en-US" smtClean="0"/>
              <a:t>‹#›</a:t>
            </a:fld>
            <a:endParaRPr lang="en-US"/>
          </a:p>
        </p:txBody>
      </p:sp>
      <p:pic>
        <p:nvPicPr>
          <p:cNvPr id="7" name="Picture 6" descr="A white and black triangle on a red and orange background&#10;&#10;Description automatically generated">
            <a:extLst>
              <a:ext uri="{FF2B5EF4-FFF2-40B4-BE49-F238E27FC236}">
                <a16:creationId xmlns:a16="http://schemas.microsoft.com/office/drawing/2014/main" id="{C3D5E572-D299-136C-6CD0-708CEF071E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507371"/>
            <a:ext cx="1116724" cy="1116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887936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0D91DD75-90A1-ECAC-4EDD-96EBFB6C5B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88650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473" imgH="476" progId="TCLayout.ActiveDocument.1">
                  <p:embed/>
                </p:oleObj>
              </mc:Choice>
              <mc:Fallback>
                <p:oleObj name="think-cell Slide" r:id="rId17" imgW="473" imgH="476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91DD75-90A1-ECAC-4EDD-96EBFB6C5B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2CC5EBF-EEAF-C0F0-D7CB-85FD64E3F6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13B5DC9-A248-9C05-6215-3929ED9591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4EB9E48-0688-D1D6-EEBD-F5BCE5DDFA2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fld id="{0B0E6C69-F3CB-4902-96B8-1BB1F9EEA246}" type="datetimeFigureOut">
              <a:rPr lang="en-US" smtClean="0"/>
              <a:t>8/28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1B9F0DC-7A47-4900-AAC8-3DF841860F0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87506A-0D93-D84D-96CD-F7B5853484C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Futura Medium" panose="020B0602020204020303" pitchFamily="34" charset="-79"/>
                <a:cs typeface="Futura Medium" panose="020B0602020204020303" pitchFamily="34" charset="-79"/>
              </a:defRPr>
            </a:lvl1pPr>
          </a:lstStyle>
          <a:p>
            <a:fld id="{C4B3915E-556B-4CDB-B2CB-F6FD2D4BADC8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6B45A21-001C-E8C8-BA5B-A2A8942F94D5}"/>
              </a:ext>
            </a:extLst>
          </p:cNvPr>
          <p:cNvSpPr/>
          <p:nvPr/>
        </p:nvSpPr>
        <p:spPr>
          <a:xfrm>
            <a:off x="0" y="6657974"/>
            <a:ext cx="12192000" cy="200025"/>
          </a:xfrm>
          <a:prstGeom prst="rect">
            <a:avLst/>
          </a:prstGeom>
          <a:gradFill flip="none" rotWithShape="1">
            <a:gsLst>
              <a:gs pos="0">
                <a:srgbClr val="DF4132"/>
              </a:gs>
              <a:gs pos="100000">
                <a:srgbClr val="FBB040"/>
              </a:gs>
            </a:gsLst>
            <a:lin ang="21540000" scaled="0"/>
            <a:tileRect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5738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i="0" kern="1200">
          <a:solidFill>
            <a:schemeClr val="tx1"/>
          </a:solidFill>
          <a:latin typeface="Futura" panose="020B0602020204020303" pitchFamily="34" charset="-79"/>
          <a:ea typeface="+mj-ea"/>
          <a:cs typeface="Futura" panose="020B0602020204020303" pitchFamily="34" charset="-79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Futura Medium" panose="020B0602020204020303" pitchFamily="34" charset="-79"/>
          <a:ea typeface="+mn-ea"/>
          <a:cs typeface="Futura Medium" panose="020B0602020204020303" pitchFamily="34" charset="-79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Futura Medium" panose="020B0602020204020303" pitchFamily="34" charset="-79"/>
          <a:ea typeface="+mn-ea"/>
          <a:cs typeface="Futura Medium" panose="020B0602020204020303" pitchFamily="34" charset="-79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Futura Medium" panose="020B0602020204020303" pitchFamily="34" charset="-79"/>
          <a:ea typeface="+mn-ea"/>
          <a:cs typeface="Futura Medium" panose="020B0602020204020303" pitchFamily="34" charset="-79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Futura Medium" panose="020B0602020204020303" pitchFamily="34" charset="-79"/>
          <a:ea typeface="+mn-ea"/>
          <a:cs typeface="Futura Medium" panose="020B0602020204020303" pitchFamily="34" charset="-79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Futura Medium" panose="020B0602020204020303" pitchFamily="34" charset="-79"/>
          <a:ea typeface="+mn-ea"/>
          <a:cs typeface="Futura Medium" panose="020B0602020204020303" pitchFamily="34" charset="-79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5" Type="http://schemas.openxmlformats.org/officeDocument/2006/relationships/chart" Target="../charts/chart1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6" Type="http://schemas.openxmlformats.org/officeDocument/2006/relationships/chart" Target="../charts/chart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EDDBDD-004C-4D56-5E69-529FB0490D74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Tarrant County Enrollment Trends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2B62576-E01A-E17D-F38C-828407A081F7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2017-2023</a:t>
            </a:r>
          </a:p>
        </p:txBody>
      </p:sp>
    </p:spTree>
    <p:extLst>
      <p:ext uri="{BB962C8B-B14F-4D97-AF65-F5344CB8AC3E}">
        <p14:creationId xmlns:p14="http://schemas.microsoft.com/office/powerpoint/2010/main" val="27879741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D1D7BFA-CB9A-2D8E-D0A0-9E6A82243AB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938437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D1D7BFA-CB9A-2D8E-D0A0-9E6A82243A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8D6E063-A499-D5A2-5441-7C953D283C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2690" y="365125"/>
            <a:ext cx="9270124" cy="1325563"/>
          </a:xfrm>
        </p:spPr>
        <p:txBody>
          <a:bodyPr vert="horz">
            <a:noAutofit/>
          </a:bodyPr>
          <a:lstStyle/>
          <a:p>
            <a:r>
              <a:rPr lang="en-US" sz="2800">
                <a:cs typeface="Futura" panose="020B0602020204020303"/>
              </a:rPr>
              <a:t>Tarrant County Saw a Slight Increase in the Last Two Years in Enrollment in Traditional ISDs</a:t>
            </a:r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967BA6CF-5127-D257-74EF-457DABBB08D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948255702"/>
              </p:ext>
            </p:extLst>
          </p:nvPr>
        </p:nvGraphicFramePr>
        <p:xfrm>
          <a:off x="978408" y="2228193"/>
          <a:ext cx="10235184" cy="27608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9E08AF91-7E44-C74E-84CD-E075E1050AA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28942714"/>
              </p:ext>
            </p:extLst>
          </p:nvPr>
        </p:nvGraphicFramePr>
        <p:xfrm>
          <a:off x="2148314" y="5017833"/>
          <a:ext cx="8659368" cy="46355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164842">
                  <a:extLst>
                    <a:ext uri="{9D8B030D-6E8A-4147-A177-3AD203B41FA5}">
                      <a16:colId xmlns:a16="http://schemas.microsoft.com/office/drawing/2014/main" val="2313423815"/>
                    </a:ext>
                  </a:extLst>
                </a:gridCol>
                <a:gridCol w="2164842">
                  <a:extLst>
                    <a:ext uri="{9D8B030D-6E8A-4147-A177-3AD203B41FA5}">
                      <a16:colId xmlns:a16="http://schemas.microsoft.com/office/drawing/2014/main" val="1679910934"/>
                    </a:ext>
                  </a:extLst>
                </a:gridCol>
                <a:gridCol w="2164842">
                  <a:extLst>
                    <a:ext uri="{9D8B030D-6E8A-4147-A177-3AD203B41FA5}">
                      <a16:colId xmlns:a16="http://schemas.microsoft.com/office/drawing/2014/main" val="4004683743"/>
                    </a:ext>
                  </a:extLst>
                </a:gridCol>
                <a:gridCol w="2164842">
                  <a:extLst>
                    <a:ext uri="{9D8B030D-6E8A-4147-A177-3AD203B41FA5}">
                      <a16:colId xmlns:a16="http://schemas.microsoft.com/office/drawing/2014/main" val="2706451166"/>
                    </a:ext>
                  </a:extLst>
                </a:gridCol>
              </a:tblGrid>
              <a:tr h="256208"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accent6"/>
                          </a:solidFill>
                          <a:cs typeface="Futura" panose="020B0602020204020303"/>
                        </a:rPr>
                        <a:t>2023 Enrollment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accent6"/>
                          </a:solidFill>
                          <a:cs typeface="Futura" panose="020B0602020204020303"/>
                        </a:rPr>
                        <a:t>Change ‘17-’2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accent6"/>
                          </a:solidFill>
                          <a:cs typeface="Futura" panose="020B0602020204020303"/>
                        </a:rPr>
                        <a:t>Change ’20-’2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accent6"/>
                          </a:solidFill>
                          <a:cs typeface="Futura" panose="020B0602020204020303"/>
                        </a:rPr>
                        <a:t>Change ‘22-’23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3847567"/>
                  </a:ext>
                </a:extLst>
              </a:tr>
              <a:tr h="17525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chemeClr val="accent6"/>
                          </a:solidFill>
                          <a:effectLst/>
                          <a:cs typeface="Futura" panose="020B0602020204020303"/>
                        </a:rPr>
                        <a:t>364,387</a:t>
                      </a:r>
                      <a:endParaRPr lang="en-US" sz="1200" b="0" i="0" u="none" strike="noStrike">
                        <a:solidFill>
                          <a:schemeClr val="accent6"/>
                        </a:solidFill>
                        <a:effectLst/>
                        <a:latin typeface="Calibri" panose="020F0502020204030204" pitchFamily="34" charset="0"/>
                        <a:cs typeface="Futura" panose="020B0602020204020303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-8,958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2,802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1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>
                          <a:solidFill>
                            <a:schemeClr val="accent6"/>
                          </a:solidFill>
                          <a:effectLst/>
                          <a:latin typeface="+mn-lt"/>
                        </a:rPr>
                        <a:t>1,825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1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7508191"/>
                  </a:ext>
                </a:extLst>
              </a:tr>
            </a:tbl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4515EC47-F9D3-1C3F-CC95-5FBF6BFD05E7}"/>
              </a:ext>
            </a:extLst>
          </p:cNvPr>
          <p:cNvSpPr txBox="1"/>
          <p:nvPr/>
        </p:nvSpPr>
        <p:spPr>
          <a:xfrm>
            <a:off x="505442" y="5025648"/>
            <a:ext cx="11521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cs typeface="Futura" panose="020B0602020204020303"/>
              </a:rPr>
              <a:t>Change in Enrollment 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DD11F907-1C9F-A45E-9725-E646F52D1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312993"/>
            <a:ext cx="11905488" cy="373634"/>
          </a:xfrm>
        </p:spPr>
        <p:txBody>
          <a:bodyPr/>
          <a:lstStyle/>
          <a:p>
            <a:r>
              <a:rPr lang="en-US" sz="1050"/>
              <a:t>Source: TEA TAPR, Reporting Years 2017-2023, US Census ACS 5-Year Estimates, 2017-2022. Note: Tarrant County Enrollment is a sum of enrollment from 17 traditional ISDs. Tarrant County School Aged Population includes children from ages 5-18 living in Tarrant County per the US Census boundaries.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5C0C9A50-16D3-8B8F-A855-CC8E2640F3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794631"/>
              </p:ext>
            </p:extLst>
          </p:nvPr>
        </p:nvGraphicFramePr>
        <p:xfrm>
          <a:off x="2148314" y="5681853"/>
          <a:ext cx="8659368" cy="46355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164842">
                  <a:extLst>
                    <a:ext uri="{9D8B030D-6E8A-4147-A177-3AD203B41FA5}">
                      <a16:colId xmlns:a16="http://schemas.microsoft.com/office/drawing/2014/main" val="2313423815"/>
                    </a:ext>
                  </a:extLst>
                </a:gridCol>
                <a:gridCol w="2164842">
                  <a:extLst>
                    <a:ext uri="{9D8B030D-6E8A-4147-A177-3AD203B41FA5}">
                      <a16:colId xmlns:a16="http://schemas.microsoft.com/office/drawing/2014/main" val="1679910934"/>
                    </a:ext>
                  </a:extLst>
                </a:gridCol>
                <a:gridCol w="2164842">
                  <a:extLst>
                    <a:ext uri="{9D8B030D-6E8A-4147-A177-3AD203B41FA5}">
                      <a16:colId xmlns:a16="http://schemas.microsoft.com/office/drawing/2014/main" val="4004683743"/>
                    </a:ext>
                  </a:extLst>
                </a:gridCol>
                <a:gridCol w="2164842">
                  <a:extLst>
                    <a:ext uri="{9D8B030D-6E8A-4147-A177-3AD203B41FA5}">
                      <a16:colId xmlns:a16="http://schemas.microsoft.com/office/drawing/2014/main" val="2706451166"/>
                    </a:ext>
                  </a:extLst>
                </a:gridCol>
              </a:tblGrid>
              <a:tr h="256208"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accent6"/>
                          </a:solidFill>
                          <a:cs typeface="Futura" panose="020B0602020204020303"/>
                        </a:rPr>
                        <a:t>2022 Population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accent6"/>
                          </a:solidFill>
                          <a:cs typeface="Futura" panose="020B0602020204020303"/>
                        </a:rPr>
                        <a:t>Change ‘17-’2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accent6"/>
                          </a:solidFill>
                          <a:cs typeface="Futura" panose="020B0602020204020303"/>
                        </a:rPr>
                        <a:t>Change ’20-’2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>
                          <a:solidFill>
                            <a:schemeClr val="accent6"/>
                          </a:solidFill>
                          <a:cs typeface="Futura" panose="020B0602020204020303"/>
                        </a:rPr>
                        <a:t>Change ‘21-22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6E6E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3847567"/>
                  </a:ext>
                </a:extLst>
              </a:tr>
              <a:tr h="175254"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chemeClr val="accent6"/>
                          </a:solidFill>
                          <a:effectLst/>
                          <a:cs typeface="Futura" panose="020B0602020204020303"/>
                        </a:rPr>
                        <a:t>405,808</a:t>
                      </a:r>
                      <a:endParaRPr lang="en-US" sz="1200" b="0" i="0" u="none" strike="noStrike">
                        <a:solidFill>
                          <a:schemeClr val="accent6"/>
                        </a:solidFill>
                        <a:effectLst/>
                        <a:latin typeface="Calibri" panose="020F0502020204030204" pitchFamily="34" charset="0"/>
                        <a:cs typeface="Futura" panose="020B0602020204020303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chemeClr val="accent6"/>
                          </a:solidFill>
                          <a:effectLst/>
                          <a:cs typeface="Futura" panose="020B0602020204020303"/>
                        </a:rPr>
                        <a:t>15,494</a:t>
                      </a:r>
                      <a:endParaRPr lang="en-US" sz="1200" b="0" i="0" u="none" strike="noStrike">
                        <a:solidFill>
                          <a:schemeClr val="accent6"/>
                        </a:solidFill>
                        <a:effectLst/>
                        <a:latin typeface="Calibri" panose="020F0502020204030204" pitchFamily="34" charset="0"/>
                        <a:cs typeface="Futura" panose="020B0602020204020303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9E7A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chemeClr val="accent6"/>
                          </a:solidFill>
                          <a:effectLst/>
                          <a:cs typeface="Futura" panose="020B0602020204020303"/>
                        </a:rPr>
                        <a:t>4,335</a:t>
                      </a:r>
                      <a:endParaRPr lang="en-US" sz="1200" b="0" i="0" u="none" strike="noStrike">
                        <a:solidFill>
                          <a:schemeClr val="accent6"/>
                        </a:solidFill>
                        <a:effectLst/>
                        <a:latin typeface="Calibri" panose="020F0502020204030204" pitchFamily="34" charset="0"/>
                        <a:cs typeface="Futura" panose="020B0602020204020303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FF1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u="none" strike="noStrike">
                          <a:solidFill>
                            <a:schemeClr val="accent6"/>
                          </a:solidFill>
                          <a:effectLst/>
                          <a:cs typeface="Futura" panose="020B0602020204020303"/>
                        </a:rPr>
                        <a:t>-2,618</a:t>
                      </a:r>
                      <a:endParaRPr lang="en-US" sz="1200" b="0" i="0" u="none" strike="noStrike">
                        <a:solidFill>
                          <a:schemeClr val="accent6"/>
                        </a:solidFill>
                        <a:effectLst/>
                        <a:latin typeface="Calibri" panose="020F0502020204030204" pitchFamily="34" charset="0"/>
                        <a:cs typeface="Futura" panose="020B0602020204020303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7508191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00E0C8E-E024-A1A2-9D25-38AF5745EC03}"/>
              </a:ext>
            </a:extLst>
          </p:cNvPr>
          <p:cNvSpPr txBox="1"/>
          <p:nvPr/>
        </p:nvSpPr>
        <p:spPr>
          <a:xfrm>
            <a:off x="505442" y="5666662"/>
            <a:ext cx="11521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>
                <a:cs typeface="Futura" panose="020B0602020204020303"/>
              </a:rPr>
              <a:t>Change in School-Aged Popul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05445D3-D474-6BC3-1BEC-E3FD4CC06C16}"/>
              </a:ext>
            </a:extLst>
          </p:cNvPr>
          <p:cNvSpPr txBox="1"/>
          <p:nvPr/>
        </p:nvSpPr>
        <p:spPr>
          <a:xfrm>
            <a:off x="423334" y="1668776"/>
            <a:ext cx="11497320" cy="3736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solidFill>
                  <a:schemeClr val="accent2"/>
                </a:solidFill>
              </a:rPr>
              <a:t>Longitudinal Enrollment and School-Aged Population for Tarrant County, 2017-2022, 2023</a:t>
            </a:r>
          </a:p>
        </p:txBody>
      </p:sp>
    </p:spTree>
    <p:extLst>
      <p:ext uri="{BB962C8B-B14F-4D97-AF65-F5344CB8AC3E}">
        <p14:creationId xmlns:p14="http://schemas.microsoft.com/office/powerpoint/2010/main" val="3656877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2B49665A-488F-C5EB-D958-5BD581E31D7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363514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B49665A-488F-C5EB-D958-5BD581E31D7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8D6E063-A499-D5A2-5441-7C953D283C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2690" y="365125"/>
            <a:ext cx="9459310" cy="1325563"/>
          </a:xfrm>
        </p:spPr>
        <p:txBody>
          <a:bodyPr vert="horz">
            <a:noAutofit/>
          </a:bodyPr>
          <a:lstStyle/>
          <a:p>
            <a:r>
              <a:rPr lang="en-US" sz="2400">
                <a:cs typeface="Futura" panose="020B0602020204020303"/>
              </a:rPr>
              <a:t>Tarrant County’s Economic Disadvantage (</a:t>
            </a:r>
            <a:r>
              <a:rPr lang="en-US" sz="2400" err="1">
                <a:cs typeface="Futura" panose="020B0602020204020303"/>
              </a:rPr>
              <a:t>EcoDis</a:t>
            </a:r>
            <a:r>
              <a:rPr lang="en-US" sz="2400">
                <a:cs typeface="Futura" panose="020B0602020204020303"/>
              </a:rPr>
              <a:t>) Enrollment Steadily Increased from 2017-2023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DD11F907-1C9F-A45E-9725-E646F52D1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0" y="6355080"/>
            <a:ext cx="9198864" cy="373634"/>
          </a:xfrm>
        </p:spPr>
        <p:txBody>
          <a:bodyPr/>
          <a:lstStyle/>
          <a:p>
            <a:pPr algn="l"/>
            <a:r>
              <a:rPr lang="en-US"/>
              <a:t>Source: TEA TAPR, Reporting Years 2017-2023.</a:t>
            </a:r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7863EBE4-1450-A9F8-9933-71691E7000A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29267586"/>
              </p:ext>
            </p:extLst>
          </p:nvPr>
        </p:nvGraphicFramePr>
        <p:xfrm>
          <a:off x="838199" y="2201334"/>
          <a:ext cx="10515600" cy="35352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E0E8ACD3-5C8A-6E00-075D-4142D7455D17}"/>
              </a:ext>
            </a:extLst>
          </p:cNvPr>
          <p:cNvSpPr txBox="1"/>
          <p:nvPr/>
        </p:nvSpPr>
        <p:spPr>
          <a:xfrm>
            <a:off x="347339" y="1616029"/>
            <a:ext cx="11497320" cy="3736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solidFill>
                  <a:schemeClr val="accent2"/>
                </a:solidFill>
              </a:rPr>
              <a:t>Longitudinal </a:t>
            </a:r>
            <a:r>
              <a:rPr lang="en-US" err="1">
                <a:solidFill>
                  <a:schemeClr val="accent2"/>
                </a:solidFill>
              </a:rPr>
              <a:t>EcoDis</a:t>
            </a:r>
            <a:r>
              <a:rPr lang="en-US">
                <a:solidFill>
                  <a:schemeClr val="accent2"/>
                </a:solidFill>
              </a:rPr>
              <a:t> Enrollment for Tarrant County, 2017-2023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89510A55-6D31-EFC8-B1E5-2DAFBD6A6D1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8411232"/>
              </p:ext>
            </p:extLst>
          </p:nvPr>
        </p:nvGraphicFramePr>
        <p:xfrm>
          <a:off x="1366787" y="5736554"/>
          <a:ext cx="9910012" cy="4749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5716">
                  <a:extLst>
                    <a:ext uri="{9D8B030D-6E8A-4147-A177-3AD203B41FA5}">
                      <a16:colId xmlns:a16="http://schemas.microsoft.com/office/drawing/2014/main" val="1919705454"/>
                    </a:ext>
                  </a:extLst>
                </a:gridCol>
                <a:gridCol w="1415716">
                  <a:extLst>
                    <a:ext uri="{9D8B030D-6E8A-4147-A177-3AD203B41FA5}">
                      <a16:colId xmlns:a16="http://schemas.microsoft.com/office/drawing/2014/main" val="1014146341"/>
                    </a:ext>
                  </a:extLst>
                </a:gridCol>
                <a:gridCol w="1415716">
                  <a:extLst>
                    <a:ext uri="{9D8B030D-6E8A-4147-A177-3AD203B41FA5}">
                      <a16:colId xmlns:a16="http://schemas.microsoft.com/office/drawing/2014/main" val="136151550"/>
                    </a:ext>
                  </a:extLst>
                </a:gridCol>
                <a:gridCol w="1415716">
                  <a:extLst>
                    <a:ext uri="{9D8B030D-6E8A-4147-A177-3AD203B41FA5}">
                      <a16:colId xmlns:a16="http://schemas.microsoft.com/office/drawing/2014/main" val="2864284594"/>
                    </a:ext>
                  </a:extLst>
                </a:gridCol>
                <a:gridCol w="1415716">
                  <a:extLst>
                    <a:ext uri="{9D8B030D-6E8A-4147-A177-3AD203B41FA5}">
                      <a16:colId xmlns:a16="http://schemas.microsoft.com/office/drawing/2014/main" val="749604877"/>
                    </a:ext>
                  </a:extLst>
                </a:gridCol>
                <a:gridCol w="1415716">
                  <a:extLst>
                    <a:ext uri="{9D8B030D-6E8A-4147-A177-3AD203B41FA5}">
                      <a16:colId xmlns:a16="http://schemas.microsoft.com/office/drawing/2014/main" val="4103553718"/>
                    </a:ext>
                  </a:extLst>
                </a:gridCol>
                <a:gridCol w="1415716">
                  <a:extLst>
                    <a:ext uri="{9D8B030D-6E8A-4147-A177-3AD203B41FA5}">
                      <a16:colId xmlns:a16="http://schemas.microsoft.com/office/drawing/2014/main" val="1014941207"/>
                    </a:ext>
                  </a:extLst>
                </a:gridCol>
              </a:tblGrid>
              <a:tr h="47492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1,373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99,920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5,643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4,547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6,862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6,201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16,938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2467700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ADA4901E-4650-C87E-E723-13F014FFA293}"/>
              </a:ext>
            </a:extLst>
          </p:cNvPr>
          <p:cNvSpPr txBox="1"/>
          <p:nvPr/>
        </p:nvSpPr>
        <p:spPr>
          <a:xfrm>
            <a:off x="91439" y="5505367"/>
            <a:ext cx="902210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/>
              <a:t>Count of </a:t>
            </a:r>
            <a:r>
              <a:rPr lang="en-US" sz="1050" err="1"/>
              <a:t>EcoDis</a:t>
            </a:r>
            <a:r>
              <a:rPr lang="en-US" sz="1050"/>
              <a:t> Enrollment in Tarrant County</a:t>
            </a:r>
          </a:p>
        </p:txBody>
      </p:sp>
    </p:spTree>
    <p:extLst>
      <p:ext uri="{BB962C8B-B14F-4D97-AF65-F5344CB8AC3E}">
        <p14:creationId xmlns:p14="http://schemas.microsoft.com/office/powerpoint/2010/main" val="16897453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D6E063-A499-D5A2-5441-7C953D283C4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2690" y="365125"/>
            <a:ext cx="9564413" cy="1325563"/>
          </a:xfrm>
        </p:spPr>
        <p:txBody>
          <a:bodyPr>
            <a:noAutofit/>
          </a:bodyPr>
          <a:lstStyle/>
          <a:p>
            <a:r>
              <a:rPr lang="en-US" sz="2400">
                <a:cs typeface="Futura" panose="020B0602020204020303"/>
              </a:rPr>
              <a:t>Tarrant County’s Emergent Bilingual/English Learner Enrollment Slowly Increasing Year-over-Year Since 2017</a:t>
            </a:r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DD11F907-1C9F-A45E-9725-E646F52D1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496568" y="6247826"/>
            <a:ext cx="9198864" cy="373634"/>
          </a:xfrm>
        </p:spPr>
        <p:txBody>
          <a:bodyPr/>
          <a:lstStyle/>
          <a:p>
            <a:r>
              <a:rPr lang="en-US"/>
              <a:t>Source: TEA TAPR, Reporting Years 2017-2023.</a:t>
            </a:r>
          </a:p>
        </p:txBody>
      </p:sp>
      <p:graphicFrame>
        <p:nvGraphicFramePr>
          <p:cNvPr id="21" name="Content Placeholder 20">
            <a:extLst>
              <a:ext uri="{FF2B5EF4-FFF2-40B4-BE49-F238E27FC236}">
                <a16:creationId xmlns:a16="http://schemas.microsoft.com/office/drawing/2014/main" id="{710B9379-0707-E32A-0D51-A4A016A4B23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47444613"/>
              </p:ext>
            </p:extLst>
          </p:nvPr>
        </p:nvGraphicFramePr>
        <p:xfrm>
          <a:off x="838200" y="2209801"/>
          <a:ext cx="10515600" cy="35387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BD25F519-FF54-6297-84E5-6061A56664F0}"/>
              </a:ext>
            </a:extLst>
          </p:cNvPr>
          <p:cNvSpPr txBox="1"/>
          <p:nvPr/>
        </p:nvSpPr>
        <p:spPr>
          <a:xfrm>
            <a:off x="347340" y="1690688"/>
            <a:ext cx="11497320" cy="3736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>
                <a:solidFill>
                  <a:schemeClr val="accent2"/>
                </a:solidFill>
              </a:rPr>
              <a:t>Longitudinal EB/EL Enrollment for Tarrant County ISD’s, EB/EL Population, 2017-2023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358EC644-F4DF-FBC6-E679-DF73D3358D5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44035116"/>
              </p:ext>
            </p:extLst>
          </p:nvPr>
        </p:nvGraphicFramePr>
        <p:xfrm>
          <a:off x="1366787" y="5736554"/>
          <a:ext cx="9910012" cy="4749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5716">
                  <a:extLst>
                    <a:ext uri="{9D8B030D-6E8A-4147-A177-3AD203B41FA5}">
                      <a16:colId xmlns:a16="http://schemas.microsoft.com/office/drawing/2014/main" val="1919705454"/>
                    </a:ext>
                  </a:extLst>
                </a:gridCol>
                <a:gridCol w="1415716">
                  <a:extLst>
                    <a:ext uri="{9D8B030D-6E8A-4147-A177-3AD203B41FA5}">
                      <a16:colId xmlns:a16="http://schemas.microsoft.com/office/drawing/2014/main" val="1014146341"/>
                    </a:ext>
                  </a:extLst>
                </a:gridCol>
                <a:gridCol w="1415716">
                  <a:extLst>
                    <a:ext uri="{9D8B030D-6E8A-4147-A177-3AD203B41FA5}">
                      <a16:colId xmlns:a16="http://schemas.microsoft.com/office/drawing/2014/main" val="136151550"/>
                    </a:ext>
                  </a:extLst>
                </a:gridCol>
                <a:gridCol w="1415716">
                  <a:extLst>
                    <a:ext uri="{9D8B030D-6E8A-4147-A177-3AD203B41FA5}">
                      <a16:colId xmlns:a16="http://schemas.microsoft.com/office/drawing/2014/main" val="2864284594"/>
                    </a:ext>
                  </a:extLst>
                </a:gridCol>
                <a:gridCol w="1415716">
                  <a:extLst>
                    <a:ext uri="{9D8B030D-6E8A-4147-A177-3AD203B41FA5}">
                      <a16:colId xmlns:a16="http://schemas.microsoft.com/office/drawing/2014/main" val="749604877"/>
                    </a:ext>
                  </a:extLst>
                </a:gridCol>
                <a:gridCol w="1415716">
                  <a:extLst>
                    <a:ext uri="{9D8B030D-6E8A-4147-A177-3AD203B41FA5}">
                      <a16:colId xmlns:a16="http://schemas.microsoft.com/office/drawing/2014/main" val="4103553718"/>
                    </a:ext>
                  </a:extLst>
                </a:gridCol>
                <a:gridCol w="1415716">
                  <a:extLst>
                    <a:ext uri="{9D8B030D-6E8A-4147-A177-3AD203B41FA5}">
                      <a16:colId xmlns:a16="http://schemas.microsoft.com/office/drawing/2014/main" val="1014941207"/>
                    </a:ext>
                  </a:extLst>
                </a:gridCol>
              </a:tblGrid>
              <a:tr h="47492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9,929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69,254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2,467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5,293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4,306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77,923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4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82,565</a:t>
                      </a:r>
                    </a:p>
                  </a:txBody>
                  <a:tcPr marL="6350" marR="6350" marT="6350" marB="0" anchor="ctr"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52467700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981604ED-1469-9754-0536-EA8E661068FF}"/>
              </a:ext>
            </a:extLst>
          </p:cNvPr>
          <p:cNvSpPr txBox="1"/>
          <p:nvPr/>
        </p:nvSpPr>
        <p:spPr>
          <a:xfrm>
            <a:off x="91439" y="5505367"/>
            <a:ext cx="902210" cy="9002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/>
              <a:t>Count of EB/EL Enrollment in Tarrant County</a:t>
            </a:r>
          </a:p>
        </p:txBody>
      </p:sp>
    </p:spTree>
    <p:extLst>
      <p:ext uri="{BB962C8B-B14F-4D97-AF65-F5344CB8AC3E}">
        <p14:creationId xmlns:p14="http://schemas.microsoft.com/office/powerpoint/2010/main" val="1955344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ev ">
  <a:themeElements>
    <a:clrScheme name="Rev Colors">
      <a:dk1>
        <a:srgbClr val="000000"/>
      </a:dk1>
      <a:lt1>
        <a:srgbClr val="FFFFFF"/>
      </a:lt1>
      <a:dk2>
        <a:srgbClr val="101740"/>
      </a:dk2>
      <a:lt2>
        <a:srgbClr val="BCBEC1"/>
      </a:lt2>
      <a:accent1>
        <a:srgbClr val="ED2324"/>
      </a:accent1>
      <a:accent2>
        <a:srgbClr val="EF6418"/>
      </a:accent2>
      <a:accent3>
        <a:srgbClr val="F89E1B"/>
      </a:accent3>
      <a:accent4>
        <a:srgbClr val="B8B8B8"/>
      </a:accent4>
      <a:accent5>
        <a:srgbClr val="423D42"/>
      </a:accent5>
      <a:accent6>
        <a:srgbClr val="0F173F"/>
      </a:accent6>
      <a:hlink>
        <a:srgbClr val="F89E1B"/>
      </a:hlink>
      <a:folHlink>
        <a:srgbClr val="666699"/>
      </a:folHlink>
    </a:clrScheme>
    <a:fontScheme name="Custom 1">
      <a:majorFont>
        <a:latin typeface="Futura Bold"/>
        <a:ea typeface=""/>
        <a:cs typeface=""/>
      </a:majorFont>
      <a:minorFont>
        <a:latin typeface="Futura Medium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02643476-95DE-4929-9E6F-604859A61F95}" vid="{F19E1EC0-7C9B-4368-809C-006D9671D91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0182bcc-841a-4c1a-bf7d-7087e061937c">
      <Terms xmlns="http://schemas.microsoft.com/office/infopath/2007/PartnerControls"/>
    </lcf76f155ced4ddcb4097134ff3c332f>
    <TaxCatchAll xmlns="3f1d1c1a-aaa6-4856-885d-4dfea54523eb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9E81C5ECC7B647B67717D18811A9F9" ma:contentTypeVersion="15" ma:contentTypeDescription="Create a new document." ma:contentTypeScope="" ma:versionID="990d6504a74cbfb6cf52d85cd6e7e0c7">
  <xsd:schema xmlns:xsd="http://www.w3.org/2001/XMLSchema" xmlns:xs="http://www.w3.org/2001/XMLSchema" xmlns:p="http://schemas.microsoft.com/office/2006/metadata/properties" xmlns:ns2="00182bcc-841a-4c1a-bf7d-7087e061937c" xmlns:ns3="3f1d1c1a-aaa6-4856-885d-4dfea54523eb" targetNamespace="http://schemas.microsoft.com/office/2006/metadata/properties" ma:root="true" ma:fieldsID="7584d65f5d3f3e83eca519325c365920" ns2:_="" ns3:_="">
    <xsd:import namespace="00182bcc-841a-4c1a-bf7d-7087e061937c"/>
    <xsd:import namespace="3f1d1c1a-aaa6-4856-885d-4dfea54523eb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MediaServiceLocation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0182bcc-841a-4c1a-bf7d-7087e061937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04302eab-2b6c-418f-a298-4d077cee083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  <xsd:element name="MediaServiceObjectDetectorVersions" ma:index="21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2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f1d1c1a-aaa6-4856-885d-4dfea54523eb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dbe794e2-d4e6-4ad3-8599-46c95ac1c25f}" ma:internalName="TaxCatchAll" ma:showField="CatchAllData" ma:web="3f1d1c1a-aaa6-4856-885d-4dfea54523eb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C8E37B4-0A74-424D-9C59-1D0B6B8E84AD}">
  <ds:schemaRefs>
    <ds:schemaRef ds:uri="00182bcc-841a-4c1a-bf7d-7087e061937c"/>
    <ds:schemaRef ds:uri="3f1d1c1a-aaa6-4856-885d-4dfea54523eb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4AB97039-0812-4243-A992-559E7E1E7253}">
  <ds:schemaRefs>
    <ds:schemaRef ds:uri="00182bcc-841a-4c1a-bf7d-7087e061937c"/>
    <ds:schemaRef ds:uri="3f1d1c1a-aaa6-4856-885d-4dfea54523eb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A6B4527F-88BC-4BC6-9795-03B77AA73C94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REV Template</Template>
  <Application>Microsoft Office PowerPoint</Application>
  <PresentationFormat>Widescreen</PresentationFormat>
  <Slides>4</Slides>
  <Notes>1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5" baseType="lpstr">
      <vt:lpstr>Rev </vt:lpstr>
      <vt:lpstr>Tarrant County Enrollment Trends</vt:lpstr>
      <vt:lpstr>Tarrant County Saw a Slight Increase in the Last Two Years in Enrollment in Traditional ISDs</vt:lpstr>
      <vt:lpstr>Tarrant County’s Economic Disadvantage (EcoDis) Enrollment Steadily Increased from 2017-2023</vt:lpstr>
      <vt:lpstr>Tarrant County’s Emergent Bilingual/English Learner Enrollment Slowly Increasing Year-over-Year Since 2017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arrant County Enrollment Trends</dc:title>
  <dc:creator>Sofia Munoz</dc:creator>
  <cp:revision>1</cp:revision>
  <dcterms:created xsi:type="dcterms:W3CDTF">2024-05-22T15:36:45Z</dcterms:created>
  <dcterms:modified xsi:type="dcterms:W3CDTF">2024-08-28T14:48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4AB222A0C54F54DB75D0EEBBD682B4D</vt:lpwstr>
  </property>
  <property fmtid="{D5CDD505-2E9C-101B-9397-08002B2CF9AE}" pid="3" name="MediaServiceImageTags">
    <vt:lpwstr/>
  </property>
</Properties>
</file>